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466" r:id="rId4"/>
  </p:sldMasterIdLst>
  <p:notesMasterIdLst>
    <p:notesMasterId r:id="rId7"/>
  </p:notesMasterIdLst>
  <p:handoutMasterIdLst>
    <p:handoutMasterId r:id="rId8"/>
  </p:handoutMasterIdLst>
  <p:sldIdLst>
    <p:sldId id="271" r:id="rId5"/>
    <p:sldId id="272" r:id="rId6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F34"/>
    <a:srgbClr val="F7B900"/>
    <a:srgbClr val="333333"/>
    <a:srgbClr val="4B4B4B"/>
    <a:srgbClr val="43B649"/>
    <a:srgbClr val="6D2077"/>
    <a:srgbClr val="32B5FC"/>
    <a:srgbClr val="297DFD"/>
    <a:srgbClr val="004C97"/>
    <a:srgbClr val="84B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38" autoAdjust="0"/>
  </p:normalViewPr>
  <p:slideViewPr>
    <p:cSldViewPr>
      <p:cViewPr varScale="1">
        <p:scale>
          <a:sx n="116" d="100"/>
          <a:sy n="116" d="100"/>
        </p:scale>
        <p:origin x="1500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3" d="100"/>
          <a:sy n="63" d="100"/>
        </p:scale>
        <p:origin x="3134" y="5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33400" y="190500"/>
            <a:ext cx="34544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3400" y="647700"/>
            <a:ext cx="34544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fld id="{2C5B7123-6132-48C5-BC79-663CEC96DBBE}" type="datetime1">
              <a:rPr lang="en-US" sz="1000" smtClean="0">
                <a:solidFill>
                  <a:schemeClr val="tx2"/>
                </a:solidFill>
                <a:latin typeface="+mj-lt"/>
              </a:rPr>
              <a:pPr algn="l"/>
              <a:t>8/17/2017</a:t>
            </a:fld>
            <a:endParaRPr lang="en-US" sz="10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57200" y="8686800"/>
            <a:ext cx="2767013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24263" y="8685213"/>
            <a:ext cx="2776537" cy="3063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F5B6B61E-71C8-4769-B257-3377CAF4417B}" type="slidenum">
              <a:rPr lang="en-US" sz="1000" smtClean="0">
                <a:solidFill>
                  <a:schemeClr val="tx2"/>
                </a:solidFill>
              </a:rPr>
              <a:pPr/>
              <a:t>‹Nr.›</a:t>
            </a:fld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4951305" y="26924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8264868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/>
          <p:cNvSpPr>
            <a:spLocks noGrp="1" noRot="1" noChangeAspect="1"/>
          </p:cNvSpPr>
          <p:nvPr>
            <p:ph type="sldImg" idx="2"/>
          </p:nvPr>
        </p:nvSpPr>
        <p:spPr>
          <a:xfrm>
            <a:off x="3746146" y="6576746"/>
            <a:ext cx="2711804" cy="203385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1" name="Notes Placeholder 10"/>
          <p:cNvSpPr>
            <a:spLocks noGrp="1"/>
          </p:cNvSpPr>
          <p:nvPr>
            <p:ph type="body" sz="quarter" idx="3"/>
          </p:nvPr>
        </p:nvSpPr>
        <p:spPr>
          <a:xfrm>
            <a:off x="387350" y="1104900"/>
            <a:ext cx="6051550" cy="5372100"/>
          </a:xfrm>
          <a:prstGeom prst="rect">
            <a:avLst/>
          </a:prstGeom>
        </p:spPr>
        <p:txBody>
          <a:bodyPr vert="horz" lIns="27432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5"/>
          </p:nvPr>
        </p:nvSpPr>
        <p:spPr>
          <a:xfrm>
            <a:off x="3836997" y="8685213"/>
            <a:ext cx="2668587" cy="306387"/>
          </a:xfrm>
          <a:prstGeom prst="rect">
            <a:avLst/>
          </a:prstGeom>
        </p:spPr>
        <p:txBody>
          <a:bodyPr vert="horz" lIns="91440" tIns="45720" rIns="18288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ADD4AB0-DA56-AC40-9592-4E955E6D458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390525" y="323850"/>
            <a:ext cx="3695700" cy="4572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390525" y="781050"/>
            <a:ext cx="3695700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fld id="{CA10FAA2-69A9-4091-ACE1-5F081119F60C}" type="datetime1">
              <a:rPr lang="en-US" smtClean="0"/>
              <a:pPr/>
              <a:t>8/17/2017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5073225" y="40640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1799817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73038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•"/>
      <a:tabLst/>
      <a:defRPr sz="1400" b="0" kern="1200">
        <a:solidFill>
          <a:schemeClr val="tx2"/>
        </a:solidFill>
        <a:latin typeface="Arial"/>
        <a:ea typeface="+mn-ea"/>
        <a:cs typeface="Arial"/>
      </a:defRPr>
    </a:lvl1pPr>
    <a:lvl2pPr marL="346075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2pPr>
    <a:lvl3pPr marL="512763" marR="0" indent="-16668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 baseline="0">
        <a:solidFill>
          <a:schemeClr val="tx2"/>
        </a:solidFill>
        <a:latin typeface="Arial"/>
        <a:ea typeface="+mn-ea"/>
        <a:cs typeface="Arial"/>
      </a:defRPr>
    </a:lvl3pPr>
    <a:lvl4pPr marL="685800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4pPr>
    <a:lvl5pPr marL="858838" marR="0" indent="-173038" algn="l" defTabSz="860425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5pPr>
    <a:lvl6pPr marL="1031875" indent="-173038" algn="l" defTabSz="860425" rtl="0" eaLnBrk="1" latinLnBrk="0" hangingPunct="1">
      <a:lnSpc>
        <a:spcPct val="100000"/>
      </a:lnSpc>
      <a:spcBef>
        <a:spcPts val="400"/>
      </a:spcBef>
      <a:buClrTx/>
      <a:buFont typeface="Arial" panose="020B0604020202020204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2B569-2F9F-D440-B547-B789863526A0}" type="slidenum">
              <a:rPr lang="de-DE" smtClean="0">
                <a:cs typeface="Arial"/>
              </a:rPr>
              <a:pPr/>
              <a:t>0</a:t>
            </a:fld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7042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2B569-2F9F-D440-B547-B789863526A0}" type="slidenum">
              <a:rPr lang="de-DE" smtClean="0">
                <a:cs typeface="Arial"/>
              </a:rPr>
              <a:pPr/>
              <a:t>1</a:t>
            </a:fld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80720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intil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1961343"/>
            <a:ext cx="8348472" cy="89611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48" y="3555711"/>
            <a:ext cx="3886200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2" name="Group 81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3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0" name="Rectangle 89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chemeClr val="tx2"/>
                </a:solidFill>
                <a:ea typeface="Arial" charset="0"/>
                <a:cs typeface="Arial" charset="0"/>
              </a:rPr>
              <a:t>Copyright © 2017 QuintilesIMS. All rights reserved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ntent Slide_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01784" y="6666344"/>
            <a:ext cx="420255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  <p:sp>
        <p:nvSpPr>
          <p:cNvPr id="3" name="Slide Number Placeholder 6"/>
          <p:cNvSpPr txBox="1">
            <a:spLocks/>
          </p:cNvSpPr>
          <p:nvPr/>
        </p:nvSpPr>
        <p:spPr>
          <a:xfrm>
            <a:off x="6786565" y="6424614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2"/>
                </a:solidFill>
              </a:rPr>
              <a:pPr algn="r"/>
              <a:t>‹Nr.›</a:t>
            </a:fld>
            <a:endParaRPr lang="en-US" sz="10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Date Placeholder 3"/>
          <p:cNvSpPr>
            <a:spLocks noGrp="1"/>
          </p:cNvSpPr>
          <p:nvPr>
            <p:ph type="dt" sz="half" idx="12"/>
          </p:nvPr>
        </p:nvSpPr>
        <p:spPr>
          <a:xfrm>
            <a:off x="457200" y="6657110"/>
            <a:ext cx="272473" cy="12238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DFCF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12526"/>
            <a:ext cx="9144000" cy="1345474"/>
          </a:xfrm>
          <a:prstGeom prst="rect">
            <a:avLst/>
          </a:prstGeom>
        </p:spPr>
      </p:pic>
      <p:sp>
        <p:nvSpPr>
          <p:cNvPr id="60" name="Rectangle 59"/>
          <p:cNvSpPr/>
          <p:nvPr/>
        </p:nvSpPr>
        <p:spPr bwMode="gray">
          <a:xfrm>
            <a:off x="0" y="1"/>
            <a:ext cx="9144000" cy="2042764"/>
          </a:xfrm>
          <a:prstGeom prst="rect">
            <a:avLst/>
          </a:prstGeom>
          <a:solidFill>
            <a:srgbClr val="EBEBE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608965"/>
            <a:ext cx="8348472" cy="1325880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Divider 24pt Arial Bold Title Case</a:t>
            </a:r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73951"/>
            <a:ext cx="571500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>
          <a:xfrm>
            <a:off x="6786565" y="6480030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2"/>
                </a:solidFill>
              </a:rPr>
              <a:pPr algn="r"/>
              <a:t>‹Nr.›</a:t>
            </a:fld>
            <a:endParaRPr lang="en-US" sz="10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1154"/>
            <a:ext cx="9144000" cy="471569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643935" y="1790723"/>
            <a:ext cx="7848600" cy="38711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10000"/>
              </a:lnSpc>
              <a:defRPr sz="2400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hought slide 24pt Arial sentence cas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2"/>
          </p:nvPr>
        </p:nvSpPr>
        <p:spPr>
          <a:xfrm>
            <a:off x="494145" y="6670965"/>
            <a:ext cx="272473" cy="168563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73378" y="6674938"/>
            <a:ext cx="298037" cy="146114"/>
          </a:xfrm>
          <a:prstGeom prst="rect">
            <a:avLst/>
          </a:prstGeom>
        </p:spPr>
        <p:txBody>
          <a:bodyPr tIns="0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2"/>
          </p:nvPr>
        </p:nvSpPr>
        <p:spPr>
          <a:xfrm>
            <a:off x="466436" y="6670964"/>
            <a:ext cx="318655" cy="168564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fld id="{604969FA-BF2E-4DB8-9060-4CE805E74307}" type="datetimeFigureOut">
              <a:rPr lang="en-US" smtClean="0"/>
              <a:pPr/>
              <a:t>8/17/2017</a:t>
            </a:fld>
            <a:endParaRPr lang="en-US" dirty="0"/>
          </a:p>
        </p:txBody>
      </p:sp>
      <p:sp>
        <p:nvSpPr>
          <p:cNvPr id="53" name="Rectangle 52"/>
          <p:cNvSpPr/>
          <p:nvPr/>
        </p:nvSpPr>
        <p:spPr bwMode="white">
          <a:xfrm>
            <a:off x="230909" y="6650182"/>
            <a:ext cx="13854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© 2015, </a:t>
            </a:r>
            <a:r>
              <a:rPr lang="de-DE" dirty="0" smtClean="0"/>
              <a:t>IMS HEALTH – Präsentationstitel via IMS </a:t>
            </a:r>
            <a:r>
              <a:rPr lang="de-DE" dirty="0" err="1" smtClean="0"/>
              <a:t>FooterFixer</a:t>
            </a:r>
            <a:r>
              <a:rPr lang="de-DE" dirty="0" smtClean="0"/>
              <a:t> oder Kopf- und Fußzeile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5933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Header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66345"/>
            <a:ext cx="346364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662977"/>
            <a:ext cx="8348472" cy="4617748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66439" y="6659418"/>
            <a:ext cx="244762" cy="143163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224250"/>
            <a:ext cx="8348472" cy="5001059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lIns="91440" tIns="0" rIns="9144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llout w/photo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2"/>
          <p:cNvSpPr>
            <a:spLocks noGrp="1"/>
          </p:cNvSpPr>
          <p:nvPr>
            <p:ph type="ftr" sz="quarter" idx="18"/>
          </p:nvPr>
        </p:nvSpPr>
        <p:spPr bwMode="gray">
          <a:xfrm>
            <a:off x="2234275" y="6604000"/>
            <a:ext cx="6318598" cy="254000"/>
          </a:xfrm>
          <a:prstGeom prst="rect">
            <a:avLst/>
          </a:prstGeom>
        </p:spPr>
        <p:txBody>
          <a:bodyPr tIns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 dirty="0"/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8443838" y="5904347"/>
            <a:ext cx="503382" cy="131618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 bwMode="white">
          <a:xfrm>
            <a:off x="8432799" y="5781964"/>
            <a:ext cx="525461" cy="11083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0"/>
            <a:ext cx="9144000" cy="1143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84047" y="5895623"/>
            <a:ext cx="7780898" cy="78175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bg1"/>
                </a:solidFill>
                <a:latin typeface="+mj-lt"/>
              </a:defRPr>
            </a:lvl1pPr>
            <a:lvl2pPr marL="230188" indent="-115888">
              <a:lnSpc>
                <a:spcPct val="100000"/>
              </a:lnSpc>
              <a:spcBef>
                <a:spcPts val="200"/>
              </a:spcBef>
              <a:buFont typeface="Arial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2pPr>
            <a:lvl3pPr marL="457200" indent="-171450">
              <a:lnSpc>
                <a:spcPct val="100000"/>
              </a:lnSpc>
              <a:buFont typeface="Arial" pitchFamily="34" charset="0"/>
              <a:buChar char="›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1600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</a:t>
            </a:r>
          </a:p>
          <a:p>
            <a:pPr lvl="1"/>
            <a:r>
              <a:rPr lang="en-US" noProof="0" dirty="0" smtClean="0"/>
              <a:t>12pt Arial bullet 1</a:t>
            </a:r>
          </a:p>
          <a:p>
            <a:pPr lvl="1"/>
            <a:r>
              <a:rPr lang="en-US" noProof="0" dirty="0" smtClean="0"/>
              <a:t>12pt Arial bullet 2</a:t>
            </a:r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 bwMode="white">
          <a:xfrm>
            <a:off x="8160772" y="6424764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84047" y="1662977"/>
            <a:ext cx="8348472" cy="393426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263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55600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234275" y="6474690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7, QuintilesIMS (IMS HEALTH GmbH &amp; Co. OHG). All rights reserved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7" y="6661729"/>
            <a:ext cx="318654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09418" cy="131618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4" hasCustomPrompt="1"/>
          </p:nvPr>
        </p:nvSpPr>
        <p:spPr>
          <a:xfrm>
            <a:off x="4672583" y="1662977"/>
            <a:ext cx="4041648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 hasCustomPrompt="1"/>
          </p:nvPr>
        </p:nvSpPr>
        <p:spPr>
          <a:xfrm>
            <a:off x="384047" y="1662977"/>
            <a:ext cx="4038600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="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>
                <a:solidFill>
                  <a:srgbClr val="414343"/>
                </a:solidFill>
              </a:defRPr>
            </a:lvl2pPr>
            <a:lvl3pPr>
              <a:buNone/>
              <a:defRPr sz="1600" i="1">
                <a:solidFill>
                  <a:srgbClr val="414343"/>
                </a:solidFill>
              </a:defRPr>
            </a:lvl3pPr>
            <a:lvl4pPr>
              <a:buNone/>
              <a:defRPr sz="1600" i="1">
                <a:solidFill>
                  <a:srgbClr val="414343"/>
                </a:solidFill>
              </a:defRPr>
            </a:lvl4pPr>
            <a:lvl5pPr>
              <a:buNone/>
              <a:defRPr sz="1600" i="1">
                <a:solidFill>
                  <a:srgbClr val="414343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11018" y="6680201"/>
            <a:ext cx="337127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Rectangle 1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6062471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223259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4047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>
          <a:xfrm>
            <a:off x="457200" y="6666343"/>
            <a:ext cx="272473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7, QuintilesIMS (IMS HEALTH GmbH &amp; Co. OHG).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68731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6"/>
          <p:cNvSpPr txBox="1">
            <a:spLocks/>
          </p:cNvSpPr>
          <p:nvPr/>
        </p:nvSpPr>
        <p:spPr>
          <a:xfrm>
            <a:off x="8158171" y="6424615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449977" y="6346861"/>
            <a:ext cx="1332641" cy="289100"/>
            <a:chOff x="4813445" y="5397500"/>
            <a:chExt cx="2736850" cy="593725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  <p:sldLayoutId id="2147485470" r:id="rId4"/>
    <p:sldLayoutId id="2147485471" r:id="rId5"/>
    <p:sldLayoutId id="2147485472" r:id="rId6"/>
    <p:sldLayoutId id="2147485474" r:id="rId7"/>
    <p:sldLayoutId id="2147485475" r:id="rId8"/>
    <p:sldLayoutId id="2147485477" r:id="rId9"/>
    <p:sldLayoutId id="2147485478" r:id="rId10"/>
    <p:sldLayoutId id="2147485483" r:id="rId11"/>
    <p:sldLayoutId id="2147485484" r:id="rId12"/>
    <p:sldLayoutId id="2147485485" r:id="rId1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006A71"/>
          </a:solidFill>
          <a:latin typeface="+mn-lt"/>
          <a:ea typeface="ＭＳ Ｐゴシック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414343"/>
          </a:solidFill>
          <a:latin typeface="+mn-lt"/>
          <a:ea typeface="ＭＳ Ｐゴシック" charset="-128"/>
          <a:cs typeface="+mn-cs"/>
        </a:defRPr>
      </a:lvl1pPr>
      <a:lvl2pPr marL="457200" indent="-2349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&gt;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2pPr>
      <a:lvl3pPr marL="679450" indent="-2222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3pPr>
      <a:lvl4pPr marL="914400" indent="-2349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4pPr>
      <a:lvl5pPr marL="1144588" indent="-2222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Layout" Target="../slideLayouts/slideLayout5.xml"/><Relationship Id="rId3" Type="http://schemas.openxmlformats.org/officeDocument/2006/relationships/tags" Target="../tags/tag6.xml"/><Relationship Id="rId21" Type="http://schemas.openxmlformats.org/officeDocument/2006/relationships/image" Target="../media/image1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image" Target="../media/image7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oleObject" Target="../embeddings/oleObject6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6.emf"/><Relationship Id="rId10" Type="http://schemas.openxmlformats.org/officeDocument/2006/relationships/tags" Target="../tags/tag13.xml"/><Relationship Id="rId19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slideLayout" Target="../slideLayouts/slideLayout5.xml"/><Relationship Id="rId3" Type="http://schemas.openxmlformats.org/officeDocument/2006/relationships/tags" Target="../tags/tag22.xml"/><Relationship Id="rId21" Type="http://schemas.openxmlformats.org/officeDocument/2006/relationships/image" Target="../media/image1.emf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9.emf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5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oleObject" Target="../embeddings/oleObject9.bin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image" Target="../media/image8.emf"/><Relationship Id="rId10" Type="http://schemas.openxmlformats.org/officeDocument/2006/relationships/tags" Target="../tags/tag29.xml"/><Relationship Id="rId19" Type="http://schemas.openxmlformats.org/officeDocument/2006/relationships/notesSlide" Target="../notesSlides/notesSlide2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604407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hteck 3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1800" dirty="0" smtClean="0"/>
              <a:t>Abbildung 1: Zweistellige Umsatzsteigerung des Apotheken-Versandhandels mit rezeptfreien Produkten in 2016 </a:t>
            </a:r>
            <a:endParaRPr lang="de-DE" sz="180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384047" y="1004285"/>
            <a:ext cx="8348472" cy="794064"/>
          </a:xfrm>
        </p:spPr>
        <p:txBody>
          <a:bodyPr/>
          <a:lstStyle/>
          <a:p>
            <a:r>
              <a:rPr lang="de-DE" sz="1600" smtClean="0"/>
              <a:t>Jahr 2016: OTC-Markt Apotheke (OTC-Arznei-/Gesundheitsmittel, Apothekenkosmetik, Medizinischer Sachbedarf, Ernährung), Umsatz zu effektiven Verkaufspreisen </a:t>
            </a:r>
            <a:br>
              <a:rPr lang="de-DE" sz="1600" smtClean="0"/>
            </a:br>
            <a:endParaRPr lang="de-DE" sz="1600" dirty="0"/>
          </a:p>
        </p:txBody>
      </p:sp>
      <p:sp>
        <p:nvSpPr>
          <p:cNvPr id="40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© 2017, QuintilesIMS (IMS HEALTH) – Medieninformation vom 11.05.2017</a:t>
            </a:r>
            <a:endParaRPr lang="de-DE" dirty="0"/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384047" y="5877272"/>
            <a:ext cx="8780190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Quelle: IMS Apothekenstichprobe und Hochrechnung/Projektion, </a:t>
            </a:r>
            <a:r>
              <a:rPr lang="de-DE" sz="1000" dirty="0" smtClean="0">
                <a:latin typeface="Arial" pitchFamily="34" charset="0"/>
                <a:cs typeface="Arial" pitchFamily="34" charset="0"/>
                <a:sym typeface="Arial"/>
              </a:rPr>
              <a:t>IMS</a:t>
            </a:r>
            <a:r>
              <a:rPr lang="de-DE" sz="1000" baseline="30000" dirty="0" smtClean="0">
                <a:latin typeface="Arial" pitchFamily="34" charset="0"/>
                <a:cs typeface="Arial" pitchFamily="34" charset="0"/>
                <a:sym typeface="Arial"/>
              </a:rPr>
              <a:t>®</a:t>
            </a:r>
            <a:r>
              <a:rPr lang="de-DE" sz="1000" dirty="0" smtClean="0">
                <a:latin typeface="Arial" pitchFamily="34" charset="0"/>
                <a:cs typeface="Arial" pitchFamily="34" charset="0"/>
                <a:sym typeface="Arial"/>
              </a:rPr>
              <a:t> 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onsumer Health Analytics, </a:t>
            </a:r>
            <a:r>
              <a:rPr lang="de-DE" sz="1000" dirty="0" err="1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ube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2330</a:t>
            </a:r>
            <a:b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</a:b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* OTC = </a:t>
            </a:r>
            <a:r>
              <a:rPr lang="de-DE" sz="1000" dirty="0" err="1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over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ounter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= rezeptfrei / hier inkl. Nichtarzneimittel (OTCGMS, PEC, PAC, Nutrition)</a:t>
            </a:r>
            <a:endParaRPr lang="en-US" sz="10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endParaRPr lang="de-DE" sz="10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36969037"/>
              </p:ext>
            </p:extLst>
          </p:nvPr>
        </p:nvGraphicFramePr>
        <p:xfrm>
          <a:off x="1562100" y="2362199"/>
          <a:ext cx="2038423" cy="34481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Chart" r:id="rId22" imgW="2038423" imgH="3448170" progId="MSGraph.Chart.8">
                  <p:embed followColorScheme="full"/>
                </p:oleObj>
              </mc:Choice>
              <mc:Fallback>
                <p:oleObj name="Chart" r:id="rId22" imgW="2038423" imgH="3448170" progId="MSGraph.Chart.8">
                  <p:embed followColorScheme="full"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2100" y="2362199"/>
                        <a:ext cx="2038423" cy="34481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2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00288" y="2247900"/>
            <a:ext cx="59213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hangingPunct="0"/>
            <a:fld id="{200AA704-545E-45A7-BD8A-253C6CEBD302}" type="datetime'1''''''''2''''''''''''''''.''''''8''''''''''59'"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12.859</a:t>
            </a:fld>
            <a:endParaRPr lang="de-DE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hteck 1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06638" y="4189413"/>
            <a:ext cx="57943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9A0540E2-95D6-400D-A88D-A1EA1823FF6B}" type="datetime'1''''''''''''''1''''''''''''''''''.''30''''''''3'''">
              <a:rPr lang="en-US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11.303</a:t>
            </a:fld>
            <a:endParaRPr lang="de-DE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hteck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12763" y="2574925"/>
            <a:ext cx="118268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A45A11B8-D5CB-45A3-8CE0-B314DBE788D7}" type="datetime'''''Versa''n''d''h''''''''''''''''''''''an''d''''''el'">
              <a:rPr lang="en-US" sz="1400" smtClean="0">
                <a:latin typeface="Arial"/>
                <a:cs typeface="Arial"/>
                <a:sym typeface="Arial"/>
              </a:rPr>
              <a:pPr algn="r" eaLnBrk="0" hangingPunct="0"/>
              <a:t>Versandhandel</a:t>
            </a:fld>
            <a:endParaRPr lang="de-DE" sz="1400">
              <a:latin typeface="Arial"/>
              <a:cs typeface="Arial"/>
              <a:sym typeface="Arial"/>
            </a:endParaRPr>
          </a:p>
        </p:txBody>
      </p:sp>
      <p:sp>
        <p:nvSpPr>
          <p:cNvPr id="15" name="Rechteck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5388" y="4189413"/>
            <a:ext cx="500062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6011B806-8ADE-489E-8136-6D55A21777E3}" type="datetime'''''''''''O''''f''''f''i''''z''''''''''i''''''''''n'''''">
              <a:rPr lang="en-US" sz="1400" smtClean="0">
                <a:latin typeface="Arial"/>
                <a:cs typeface="Arial"/>
                <a:sym typeface="Arial"/>
              </a:rPr>
              <a:pPr algn="r" eaLnBrk="0" hangingPunct="0"/>
              <a:t>Offizin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19" name="Rechteck 1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349500" y="2574925"/>
            <a:ext cx="493712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21699F3F-8B42-4BF3-8DBC-0DDD0085C572}" type="datetime'''''''1''''.''''''''5''''''''''5''''''''''''''''6'''''''">
              <a:rPr lang="en-US" altLang="en-US" sz="1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1.556</a:t>
            </a:fld>
            <a:endParaRPr lang="de-DE" sz="1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0" name="Object 4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9057811"/>
              </p:ext>
            </p:extLst>
          </p:nvPr>
        </p:nvGraphicFramePr>
        <p:xfrm>
          <a:off x="4267200" y="2514600"/>
          <a:ext cx="3228899" cy="3200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Chart" r:id="rId24" imgW="3228899" imgH="3200310" progId="MSGraph.Chart.8">
                  <p:embed followColorScheme="full"/>
                </p:oleObj>
              </mc:Choice>
              <mc:Fallback>
                <p:oleObj name="Chart" r:id="rId24" imgW="3228899" imgH="3200310" progId="MSGraph.Chart.8">
                  <p:embed followColorScheme="full"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7200" y="2514600"/>
                        <a:ext cx="3228899" cy="32003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3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950075" y="2824163"/>
            <a:ext cx="19462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9177D113-F6C3-4CD4-9D91-5D07DB748922}" type="datetime'''Kosm''e''ti''k +'''' Kö''''rpe''''''r''''''pf''''le''ge'">
              <a:rPr lang="en-US" sz="1400" smtClean="0">
                <a:latin typeface="Arial"/>
                <a:cs typeface="Arial"/>
                <a:sym typeface="Arial"/>
              </a:rPr>
              <a:pPr eaLnBrk="0" hangingPunct="0"/>
              <a:t>Kosmetik + Körperpflege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29" name="Rechteck 2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415213" y="3789363"/>
            <a:ext cx="82708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E8153F22-2526-408A-AF3D-4C6BCF55B7AD}" type="datetime'E''r''''''''''n''''''''''''''''''''''ähr''''''un''''''''''''g'">
              <a:rPr lang="en-US" sz="1400" smtClean="0">
                <a:latin typeface="Arial"/>
                <a:cs typeface="Arial"/>
                <a:sym typeface="Arial"/>
              </a:rPr>
              <a:pPr eaLnBrk="0" hangingPunct="0"/>
              <a:t>Ernährung</a:t>
            </a:fld>
            <a:endParaRPr lang="de-DE" sz="1400">
              <a:latin typeface="Arial"/>
              <a:cs typeface="Arial"/>
              <a:sym typeface="Arial"/>
            </a:endParaRPr>
          </a:p>
        </p:txBody>
      </p:sp>
      <p:sp>
        <p:nvSpPr>
          <p:cNvPr id="26" name="Rechteck 3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691063" y="4584700"/>
            <a:ext cx="838200" cy="4254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B1F21248-ACF9-46B2-819F-21E96DF17857}" type="datetime'''''1''''''''''''''.1''''''''''''''''''''98.''58''''5'''">
              <a:rPr lang="en-US" alt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1.198.585</a:t>
            </a:fld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ABDDE8F4-65BD-4190-872A-766046CDFEAA}" type="datetime'''''''''''''''''''''''''''''7''''''''''''7''''%'''''''''''''">
              <a:rPr lang="en-US" alt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77%</a:t>
            </a:fld>
            <a:r>
              <a:rPr lang="de-DE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Rechteck 3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953125" y="2784475"/>
            <a:ext cx="592137" cy="425450"/>
          </a:xfrm>
          <a:prstGeom prst="rect">
            <a:avLst/>
          </a:prstGeom>
          <a:solidFill>
            <a:schemeClr val="accent6"/>
          </a:solidFill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B6ED6D95-7E8C-45B8-98C0-62D272AB1B7D}" type="datetime'91''''''.9''''''''''''''''''''''''3''''''''''''''8'''''''''''">
              <a:rPr lang="en-US" alt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91.938</a:t>
            </a:fld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BF149AFA-18DE-4AB6-BDAD-044014A26347}" type="datetime'6''''''''''''''''''''''''''''''''''''''''''''''''''''%'''''''">
              <a:rPr lang="en-US" alt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6%</a:t>
            </a:fld>
            <a:r>
              <a:rPr lang="de-DE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" name="Rechteck 3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986463" y="2393950"/>
            <a:ext cx="13493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048743C6-2633-46A0-A135-0E1C93EE30BE}" type="datetime'''''''M''''e''''d.'' S''''''''''''''''''''achb''''''ed''arf'''">
              <a:rPr lang="en-US" sz="1400" smtClean="0">
                <a:latin typeface="Arial"/>
                <a:cs typeface="Arial"/>
                <a:sym typeface="Arial"/>
              </a:rPr>
              <a:pPr eaLnBrk="0" hangingPunct="0"/>
              <a:t>Med. Sachbedarf</a:t>
            </a:fld>
            <a:endParaRPr lang="de-DE" sz="1400">
              <a:latin typeface="Arial"/>
              <a:cs typeface="Arial"/>
              <a:sym typeface="Arial"/>
            </a:endParaRPr>
          </a:p>
        </p:txBody>
      </p:sp>
      <p:sp>
        <p:nvSpPr>
          <p:cNvPr id="22" name="Rechteck 3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438900" y="3282950"/>
            <a:ext cx="690562" cy="4254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678B5E27-ECA1-4D18-B157-7D648846C402}" type="datetime'''''''2''''3''''''2.''''''''''''''''''''''''1''''''''''3''8'''">
              <a:rPr lang="en-US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232.138</a:t>
            </a:fld>
            <a:endParaRPr lang="de-DE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dirty="0" smtClean="0">
                <a:latin typeface="Arial"/>
                <a:cs typeface="Arial"/>
                <a:sym typeface="Arial"/>
              </a:rPr>
              <a:t>(</a:t>
            </a:r>
            <a:fld id="{CC943624-58F9-408D-9170-ED16F4A203CA}" type="datetime'''''''''''''''''''''15''%'''''''''''''''''''''''''">
              <a:rPr lang="en-US" sz="1400" smtClean="0">
                <a:latin typeface="Arial"/>
                <a:cs typeface="Arial"/>
                <a:sym typeface="Arial"/>
              </a:rPr>
              <a:pPr algn="ctr" eaLnBrk="0" hangingPunct="0"/>
              <a:t>15%</a:t>
            </a:fld>
            <a:r>
              <a:rPr lang="de-DE" sz="1400" dirty="0" smtClean="0">
                <a:latin typeface="Arial"/>
                <a:cs typeface="Arial"/>
                <a:sym typeface="Arial"/>
              </a:rPr>
              <a:t>)</a:t>
            </a:r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30" name="Rechteck 3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765925" y="3822700"/>
            <a:ext cx="592137" cy="425450"/>
          </a:xfrm>
          <a:prstGeom prst="rect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8AA5850A-3012-40DE-AB62-D40F067229A3}" type="datetime'''33''''''''''''''''.''5''2''''''''9'''''''">
              <a:rPr lang="en-US" altLang="en-US" sz="1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33.529</a:t>
            </a:fld>
            <a:endParaRPr lang="de-DE" sz="1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smtClea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(</a:t>
            </a:r>
            <a:fld id="{E83B58F4-50BE-4730-A0E4-B0B5B6149BB9}" type="datetime'''''''''''''''''''''2%'''''''''''">
              <a:rPr lang="en-US" sz="1400" smtClean="0">
                <a:solidFill>
                  <a:srgbClr val="FFFFFF"/>
                </a:solidFill>
                <a:latin typeface="Arial"/>
                <a:cs typeface="Arial"/>
                <a:sym typeface="Arial"/>
              </a:rPr>
              <a:pPr algn="ctr" eaLnBrk="0" hangingPunct="0"/>
              <a:t>2%</a:t>
            </a:fld>
            <a:r>
              <a:rPr lang="de-DE" sz="1400" smtClea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)</a:t>
            </a:r>
            <a:endParaRPr lang="de-DE" sz="140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32" name="Gerade Verbindung 41"/>
          <p:cNvCxnSpPr>
            <a:cxnSpLocks noChangeShapeType="1"/>
          </p:cNvCxnSpPr>
          <p:nvPr/>
        </p:nvCxnSpPr>
        <p:spPr bwMode="auto">
          <a:xfrm>
            <a:off x="3347864" y="2780928"/>
            <a:ext cx="1368152" cy="223224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33" name="Gerade Verbindung 28"/>
          <p:cNvCxnSpPr>
            <a:cxnSpLocks noChangeShapeType="1"/>
          </p:cNvCxnSpPr>
          <p:nvPr/>
        </p:nvCxnSpPr>
        <p:spPr bwMode="auto">
          <a:xfrm>
            <a:off x="3348037" y="2565400"/>
            <a:ext cx="2376091" cy="71512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4" name="Textfeld 27"/>
          <p:cNvSpPr txBox="1">
            <a:spLocks noChangeArrowheads="1"/>
          </p:cNvSpPr>
          <p:nvPr/>
        </p:nvSpPr>
        <p:spPr bwMode="auto">
          <a:xfrm>
            <a:off x="616817" y="2780928"/>
            <a:ext cx="91563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 smtClean="0">
                <a:latin typeface="Arial" pitchFamily="34" charset="0"/>
                <a:cs typeface="Arial" pitchFamily="34" charset="0"/>
              </a:rPr>
              <a:t>(+16,6%)</a:t>
            </a:r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feld 28"/>
          <p:cNvSpPr txBox="1">
            <a:spLocks noChangeArrowheads="1"/>
          </p:cNvSpPr>
          <p:nvPr/>
        </p:nvSpPr>
        <p:spPr bwMode="auto">
          <a:xfrm>
            <a:off x="1037294" y="4387160"/>
            <a:ext cx="8162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 smtClean="0">
                <a:latin typeface="Arial" pitchFamily="34" charset="0"/>
                <a:cs typeface="Arial" pitchFamily="34" charset="0"/>
              </a:rPr>
              <a:t>(+1,8%)</a:t>
            </a:r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feld 29"/>
          <p:cNvSpPr txBox="1">
            <a:spLocks noChangeArrowheads="1"/>
          </p:cNvSpPr>
          <p:nvPr/>
        </p:nvSpPr>
        <p:spPr bwMode="auto">
          <a:xfrm>
            <a:off x="2843808" y="2206625"/>
            <a:ext cx="8162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 smtClean="0">
                <a:latin typeface="Arial" pitchFamily="34" charset="0"/>
                <a:cs typeface="Arial" pitchFamily="34" charset="0"/>
              </a:rPr>
              <a:t>(+3,4%)</a:t>
            </a:r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4"/>
          <p:cNvSpPr>
            <a:spLocks noChangeArrowheads="1"/>
          </p:cNvSpPr>
          <p:nvPr/>
        </p:nvSpPr>
        <p:spPr bwMode="gray">
          <a:xfrm>
            <a:off x="4211960" y="1766888"/>
            <a:ext cx="332349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Umsatzverteilung des Versandhandels nach Segmenten (in Tsd. Euro)</a:t>
            </a:r>
          </a:p>
          <a:p>
            <a:pPr algn="ctr"/>
            <a:endParaRPr lang="de-DE" sz="1400" b="1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4"/>
          <p:cNvSpPr>
            <a:spLocks noChangeArrowheads="1"/>
          </p:cNvSpPr>
          <p:nvPr/>
        </p:nvSpPr>
        <p:spPr bwMode="gray">
          <a:xfrm>
            <a:off x="899592" y="1766888"/>
            <a:ext cx="33422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Umsatz in Mio. Euro</a:t>
            </a:r>
          </a:p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Veränderung </a:t>
            </a:r>
            <a:r>
              <a:rPr lang="de-DE" sz="1400" b="1" dirty="0" err="1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ggü</a:t>
            </a:r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. Vorjahr</a:t>
            </a:r>
          </a:p>
        </p:txBody>
      </p:sp>
      <p:sp>
        <p:nvSpPr>
          <p:cNvPr id="64" name="Rechteck 63"/>
          <p:cNvSpPr/>
          <p:nvPr/>
        </p:nvSpPr>
        <p:spPr>
          <a:xfrm>
            <a:off x="3927236" y="5114557"/>
            <a:ext cx="788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eaLnBrk="0" hangingPunct="0"/>
            <a:fld id="{1DE51757-DAF8-468A-BCF6-02B2A962C756}" type="datetime'''''''''''O''''''T''''''C'''''''''''">
              <a:rPr lang="en-US" sz="1400">
                <a:latin typeface="Arial"/>
                <a:cs typeface="Arial"/>
                <a:sym typeface="Arial"/>
              </a:rPr>
              <a:pPr algn="r" eaLnBrk="0" hangingPunct="0"/>
              <a:t>OTC</a:t>
            </a:fld>
            <a:r>
              <a:rPr lang="en-US" sz="1400" dirty="0" smtClean="0">
                <a:latin typeface="Arial"/>
                <a:cs typeface="Arial"/>
                <a:sym typeface="Arial"/>
              </a:rPr>
              <a:t>*</a:t>
            </a:r>
            <a:endParaRPr lang="de-DE" sz="1400" dirty="0"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91786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16878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hteck 3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sz="1800" dirty="0" smtClean="0"/>
              <a:t>Abbildung 2: Zweistellige Absatzsteigerung des Apotheken-Versandhandels mit rezeptfreien Produkten in 2016 </a:t>
            </a:r>
            <a:endParaRPr lang="de-DE" sz="1800" dirty="0"/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384047" y="1004285"/>
            <a:ext cx="8348472" cy="794064"/>
          </a:xfrm>
        </p:spPr>
        <p:txBody>
          <a:bodyPr/>
          <a:lstStyle/>
          <a:p>
            <a:r>
              <a:rPr lang="de-DE" sz="1600" smtClean="0"/>
              <a:t>Jahr 2016: OTC-Markt Apotheke (OTC-Arznei-/Gesundheitsmittel, Apothekenkosmetik, Medizinischer Sachbedarf, Ernährung), Absatz in Packungen </a:t>
            </a:r>
            <a:br>
              <a:rPr lang="de-DE" sz="1600" smtClean="0"/>
            </a:br>
            <a:endParaRPr lang="de-DE" sz="160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© 2017, QuintilesIMS (IMS HEALTH) – Medieninformation vom 11.05.2017</a:t>
            </a:r>
            <a:endParaRPr lang="de-DE" dirty="0"/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384047" y="5877272"/>
            <a:ext cx="8780190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Quelle: IMS Apothekenstichprobe und Hochrechnung/Projektion, </a:t>
            </a:r>
            <a:r>
              <a:rPr lang="de-DE" sz="1000" dirty="0" smtClean="0">
                <a:latin typeface="Arial" pitchFamily="34" charset="0"/>
                <a:cs typeface="Arial" pitchFamily="34" charset="0"/>
                <a:sym typeface="Arial"/>
              </a:rPr>
              <a:t>IMS</a:t>
            </a:r>
            <a:r>
              <a:rPr lang="de-DE" sz="1000" baseline="30000" dirty="0" smtClean="0">
                <a:latin typeface="Arial" pitchFamily="34" charset="0"/>
                <a:cs typeface="Arial" pitchFamily="34" charset="0"/>
                <a:sym typeface="Arial"/>
              </a:rPr>
              <a:t>®</a:t>
            </a:r>
            <a:r>
              <a:rPr lang="de-DE" sz="1000" dirty="0" smtClean="0">
                <a:latin typeface="Arial" pitchFamily="34" charset="0"/>
                <a:cs typeface="Arial" pitchFamily="34" charset="0"/>
                <a:sym typeface="Arial"/>
              </a:rPr>
              <a:t> 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onsumer Health Analytics, </a:t>
            </a:r>
            <a:r>
              <a:rPr lang="de-DE" sz="1000" dirty="0" err="1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ube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2330</a:t>
            </a:r>
            <a:b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</a:b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* OTC = </a:t>
            </a:r>
            <a:r>
              <a:rPr lang="de-DE" sz="1000" dirty="0" err="1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over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ounter</a:t>
            </a:r>
            <a:r>
              <a:rPr lang="de-DE" sz="1000" dirty="0" smtClean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= rezeptfrei / hier inkl. Nichtarzneimittel</a:t>
            </a:r>
            <a:endParaRPr lang="en-US" sz="10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endParaRPr lang="de-DE" sz="10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22543277"/>
              </p:ext>
            </p:extLst>
          </p:nvPr>
        </p:nvGraphicFramePr>
        <p:xfrm>
          <a:off x="1562100" y="2362199"/>
          <a:ext cx="2038423" cy="34481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Chart" r:id="rId22" imgW="2038423" imgH="3448170" progId="MSGraph.Chart.8">
                  <p:embed followColorScheme="full"/>
                </p:oleObj>
              </mc:Choice>
              <mc:Fallback>
                <p:oleObj name="Chart" r:id="rId22" imgW="2038423" imgH="3448170" progId="MSGraph.Chart.8">
                  <p:embed followColorScheme="full"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2100" y="2362199"/>
                        <a:ext cx="2038423" cy="34481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2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49500" y="2247900"/>
            <a:ext cx="493712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hangingPunct="0"/>
            <a:fld id="{ADA3AA6C-366E-4F9E-8E93-1FA41C149BE4}" type="datetime'''''''''''''''''''1''.''''''20''''7'''''''''''''''''''''''''"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1.207</a:t>
            </a:fld>
            <a:endParaRPr lang="de-DE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hteck 1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49500" y="4194175"/>
            <a:ext cx="493712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093CDAB6-BB3E-4FA3-A850-200CDFEDBD6B}" type="datetime'''1''''''.''05''''''''''''''''''''''''''9'''''''''">
              <a:rPr lang="en-US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1.059</a:t>
            </a:fld>
            <a:endParaRPr lang="de-DE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hteck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12763" y="2579688"/>
            <a:ext cx="118268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A45A11B8-D5CB-45A3-8CE0-B314DBE788D7}" type="datetime'''''Versa''n''d''h''''''''''''''''''''''an''d''''''el'">
              <a:rPr lang="en-US" sz="1400" smtClean="0">
                <a:latin typeface="Arial"/>
                <a:cs typeface="Arial"/>
                <a:sym typeface="Arial"/>
              </a:rPr>
              <a:pPr algn="r" eaLnBrk="0" hangingPunct="0"/>
              <a:t>Versandhandel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15" name="Rechteck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5388" y="4194175"/>
            <a:ext cx="500062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6011B806-8ADE-489E-8136-6D55A21777E3}" type="datetime'''''''''''O''''f''''f''i''''z''''''''''i''''''''''n'''''">
              <a:rPr lang="en-US" sz="1400" smtClean="0">
                <a:latin typeface="Arial"/>
                <a:cs typeface="Arial"/>
                <a:sym typeface="Arial"/>
              </a:rPr>
              <a:pPr algn="r" eaLnBrk="0" hangingPunct="0"/>
              <a:t>Offizin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19" name="Rechteck 1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422525" y="2579688"/>
            <a:ext cx="3460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5F76BECC-61C9-49B4-AC8C-9A6E211AB608}" type="datetime'''''''''''''''''''''''''''1''''''48'''''''''''''">
              <a:rPr lang="en-US" altLang="en-US" sz="1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148</a:t>
            </a:fld>
            <a:endParaRPr lang="de-DE" sz="1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0" name="Object 4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59752989"/>
              </p:ext>
            </p:extLst>
          </p:nvPr>
        </p:nvGraphicFramePr>
        <p:xfrm>
          <a:off x="4267200" y="2514600"/>
          <a:ext cx="3228899" cy="3200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Chart" r:id="rId24" imgW="3228899" imgH="3200310" progId="MSGraph.Chart.8">
                  <p:embed followColorScheme="full"/>
                </p:oleObj>
              </mc:Choice>
              <mc:Fallback>
                <p:oleObj name="Chart" r:id="rId24" imgW="3228899" imgH="3200310" progId="MSGraph.Chart.8">
                  <p:embed followColorScheme="full"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67200" y="2514600"/>
                        <a:ext cx="3228899" cy="32003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3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046913" y="2922588"/>
            <a:ext cx="19462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9177D113-F6C3-4CD4-9D91-5D07DB748922}" type="datetime'''Kosm''e''ti''k +'''' Kö''''rpe''''''r''''''pf''''le''ge'">
              <a:rPr lang="en-US" sz="1400" smtClean="0">
                <a:latin typeface="Arial"/>
                <a:cs typeface="Arial"/>
                <a:sym typeface="Arial"/>
              </a:rPr>
              <a:pPr eaLnBrk="0" hangingPunct="0"/>
              <a:t>Kosmetik + Körperpflege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29" name="Rechteck 2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416800" y="3810000"/>
            <a:ext cx="82708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E8153F22-2526-408A-AF3D-4C6BCF55B7AD}" type="datetime'E''r''''''''''n''''''''''''''''''''''ähr''''''un''''''''''''g'">
              <a:rPr lang="en-US" sz="1400" smtClean="0">
                <a:latin typeface="Arial"/>
                <a:cs typeface="Arial"/>
                <a:sym typeface="Arial"/>
              </a:rPr>
              <a:pPr eaLnBrk="0" hangingPunct="0"/>
              <a:t>Ernährung</a:t>
            </a:fld>
            <a:endParaRPr lang="de-DE" sz="1400">
              <a:latin typeface="Arial"/>
              <a:cs typeface="Arial"/>
              <a:sym typeface="Arial"/>
            </a:endParaRPr>
          </a:p>
        </p:txBody>
      </p:sp>
      <p:sp>
        <p:nvSpPr>
          <p:cNvPr id="26" name="Rechteck 3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673600" y="4557713"/>
            <a:ext cx="677863" cy="4254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3E4DEF8B-C4F2-4252-96BC-31C45ED615E3}" type="datetime'11''''''7''''''.''''''''''''''''''84''''''''''''''''''''''''8'">
              <a:rPr lang="en-US" alt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117.848</a:t>
            </a:fld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452FEF94-E1B9-42AF-9C02-D1B9669A695D}" type="datetime'''''''''''8''''''''''''''''''''''''''''''''0%'''''''''''''''''"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 eaLnBrk="0" hangingPunct="0"/>
              <a:t>80%</a:t>
            </a:fld>
            <a:r>
              <a:rPr lang="de-DE" sz="1400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Rechteck 3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6149975" y="2835275"/>
            <a:ext cx="493712" cy="425450"/>
          </a:xfrm>
          <a:prstGeom prst="rect">
            <a:avLst/>
          </a:prstGeom>
          <a:solidFill>
            <a:schemeClr val="accent6"/>
          </a:solidFill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82B29F01-2CEB-4F05-BD93-4363AF953BD8}" type="datetime'''7''.''''''''''''6''''''''''''''''''''5''''''''''''0'''''''''">
              <a:rPr lang="en-US" alt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7.650</a:t>
            </a:fld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93BE9243-A525-426D-B712-4E60FF34B4E4}" type="datetime'5''''''''''''''''''''''%'''''''''''''"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 eaLnBrk="0" hangingPunct="0"/>
              <a:t>5%</a:t>
            </a:fld>
            <a:r>
              <a:rPr lang="de-DE" sz="1400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" name="Rechteck 3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238875" y="2432050"/>
            <a:ext cx="13493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048743C6-2633-46A0-A135-0E1C93EE30BE}" type="datetime'''''''M''''e''''d.'' S''''''''''''''''''''achb''''''ed''arf'''">
              <a:rPr lang="en-US" sz="1400" smtClean="0">
                <a:latin typeface="Arial"/>
                <a:cs typeface="Arial"/>
                <a:sym typeface="Arial"/>
              </a:rPr>
              <a:pPr eaLnBrk="0" hangingPunct="0"/>
              <a:t>Med. Sachbedarf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22" name="Rechteck 3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559550" y="3317875"/>
            <a:ext cx="592137" cy="4254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B9ACB0B9-B7CD-4C51-BFE6-32CE7B17D636}" type="datetime'''''''1''''''9''''''''''''''''.''''8''2''''''''2'''">
              <a:rPr lang="en-US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19.822</a:t>
            </a:fld>
            <a:endParaRPr lang="de-DE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smtClean="0">
                <a:latin typeface="Arial"/>
                <a:cs typeface="Arial"/>
                <a:sym typeface="Arial"/>
              </a:rPr>
              <a:t>(</a:t>
            </a:r>
            <a:fld id="{4B081EBB-328F-45AB-B8CF-0B435EF680DB}" type="datetime'1''''''''''''''''''''''''''''''''''''''''''3''''''''%'''">
              <a:rPr lang="en-US" sz="1400" smtClean="0">
                <a:latin typeface="Arial"/>
                <a:cs typeface="Arial"/>
                <a:sym typeface="Arial"/>
              </a:rPr>
              <a:pPr algn="ctr" eaLnBrk="0" hangingPunct="0"/>
              <a:t>13%</a:t>
            </a:fld>
            <a:r>
              <a:rPr lang="de-DE" sz="1400" smtClean="0">
                <a:latin typeface="Arial"/>
                <a:cs typeface="Arial"/>
                <a:sym typeface="Arial"/>
              </a:rPr>
              <a:t>)</a:t>
            </a:r>
            <a:endParaRPr lang="de-DE" sz="1400">
              <a:latin typeface="Arial"/>
              <a:cs typeface="Arial"/>
              <a:sym typeface="Arial"/>
            </a:endParaRPr>
          </a:p>
        </p:txBody>
      </p:sp>
      <p:sp>
        <p:nvSpPr>
          <p:cNvPr id="30" name="Rechteck 3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864350" y="3827463"/>
            <a:ext cx="493712" cy="425450"/>
          </a:xfrm>
          <a:prstGeom prst="rect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2AEA28D0-0E75-4270-B899-53B5D6738AA4}" type="datetime'''''2''''''''''''''''''''''''.''''88''''''''8'''''''">
              <a:rPr lang="en-US" altLang="en-US" sz="1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eaLnBrk="0" hangingPunct="0"/>
              <a:t>2.888</a:t>
            </a:fld>
            <a:endParaRPr lang="de-DE" sz="1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smtClea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(</a:t>
            </a:r>
            <a:fld id="{E83B58F4-50BE-4730-A0E4-B0B5B6149BB9}" type="datetime'''''''''''''''''''''2%'''''''''''">
              <a:rPr lang="en-US" sz="1400" smtClean="0">
                <a:solidFill>
                  <a:srgbClr val="FFFFFF"/>
                </a:solidFill>
                <a:latin typeface="Arial"/>
                <a:cs typeface="Arial"/>
                <a:sym typeface="Arial"/>
              </a:rPr>
              <a:pPr algn="ctr" eaLnBrk="0" hangingPunct="0"/>
              <a:t>2%</a:t>
            </a:fld>
            <a:r>
              <a:rPr lang="de-DE" sz="1400" smtClea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)</a:t>
            </a:r>
            <a:endParaRPr lang="de-DE" sz="140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gray">
          <a:xfrm>
            <a:off x="4211960" y="1766888"/>
            <a:ext cx="332349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bsatzverteilung des </a:t>
            </a:r>
            <a:r>
              <a:rPr lang="de-DE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Versandhandels </a:t>
            </a:r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nach </a:t>
            </a:r>
            <a:r>
              <a:rPr lang="de-DE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Segmenten (in Tsd. Packungen)</a:t>
            </a:r>
            <a:endParaRPr lang="de-DE" sz="1400" b="1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2" name="Gerade Verbindung 41"/>
          <p:cNvCxnSpPr>
            <a:cxnSpLocks noChangeShapeType="1"/>
          </p:cNvCxnSpPr>
          <p:nvPr/>
        </p:nvCxnSpPr>
        <p:spPr bwMode="auto">
          <a:xfrm>
            <a:off x="3347864" y="2780928"/>
            <a:ext cx="1368152" cy="223224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33" name="Gerade Verbindung 28"/>
          <p:cNvCxnSpPr>
            <a:cxnSpLocks noChangeShapeType="1"/>
          </p:cNvCxnSpPr>
          <p:nvPr/>
        </p:nvCxnSpPr>
        <p:spPr bwMode="auto">
          <a:xfrm>
            <a:off x="3348037" y="2565400"/>
            <a:ext cx="2376091" cy="71512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4" name="Textfeld 27"/>
          <p:cNvSpPr txBox="1">
            <a:spLocks noChangeArrowheads="1"/>
          </p:cNvSpPr>
          <p:nvPr/>
        </p:nvSpPr>
        <p:spPr bwMode="auto">
          <a:xfrm>
            <a:off x="611560" y="2777435"/>
            <a:ext cx="91563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 smtClean="0">
                <a:latin typeface="Arial" pitchFamily="34" charset="0"/>
                <a:cs typeface="Arial" pitchFamily="34" charset="0"/>
              </a:rPr>
              <a:t>(+13,1%)</a:t>
            </a:r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feld 28"/>
          <p:cNvSpPr txBox="1">
            <a:spLocks noChangeArrowheads="1"/>
          </p:cNvSpPr>
          <p:nvPr/>
        </p:nvSpPr>
        <p:spPr bwMode="auto">
          <a:xfrm>
            <a:off x="1043608" y="4365104"/>
            <a:ext cx="77136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 smtClean="0">
                <a:latin typeface="Arial" pitchFamily="34" charset="0"/>
                <a:cs typeface="Arial" pitchFamily="34" charset="0"/>
              </a:rPr>
              <a:t>(-0,9%)</a:t>
            </a:r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feld 29"/>
          <p:cNvSpPr txBox="1">
            <a:spLocks noChangeArrowheads="1"/>
          </p:cNvSpPr>
          <p:nvPr/>
        </p:nvSpPr>
        <p:spPr bwMode="auto">
          <a:xfrm>
            <a:off x="2771800" y="2206625"/>
            <a:ext cx="8162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 smtClean="0">
                <a:latin typeface="Arial" pitchFamily="34" charset="0"/>
                <a:cs typeface="Arial" pitchFamily="34" charset="0"/>
              </a:rPr>
              <a:t>(+0,7%)</a:t>
            </a:r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gray">
          <a:xfrm>
            <a:off x="899592" y="1766888"/>
            <a:ext cx="33422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de-DE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bsatz </a:t>
            </a:r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in Mio. </a:t>
            </a:r>
            <a:r>
              <a:rPr lang="de-DE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Packungen</a:t>
            </a:r>
          </a:p>
          <a:p>
            <a:pPr algn="ctr"/>
            <a:r>
              <a:rPr lang="de-DE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Veränderung </a:t>
            </a:r>
            <a:r>
              <a:rPr lang="de-DE" sz="1400" b="1" dirty="0" err="1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ggü</a:t>
            </a:r>
            <a:r>
              <a:rPr lang="de-DE" sz="14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. Vorjahr</a:t>
            </a:r>
            <a:endParaRPr lang="de-DE" sz="1400" b="1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3927236" y="5114557"/>
            <a:ext cx="788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eaLnBrk="0" hangingPunct="0"/>
            <a:fld id="{1DE51757-DAF8-468A-BCF6-02B2A962C756}" type="datetime'''''''''''O''''''T''''''C'''''''''''">
              <a:rPr lang="en-US" sz="1400">
                <a:latin typeface="Arial"/>
                <a:cs typeface="Arial"/>
                <a:sym typeface="Arial"/>
              </a:rPr>
              <a:pPr algn="r" eaLnBrk="0" hangingPunct="0"/>
              <a:t>OTC</a:t>
            </a:fld>
            <a:r>
              <a:rPr lang="en-US" sz="1400" dirty="0" smtClean="0">
                <a:latin typeface="Arial"/>
                <a:cs typeface="Arial"/>
                <a:sym typeface="Arial"/>
              </a:rPr>
              <a:t>*</a:t>
            </a:r>
            <a:endParaRPr lang="de-DE" sz="1400" dirty="0"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72400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FF&quot; g=&quot;CF&quot; b=&quot;32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Oblb45C02N_3ZS.Oln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5PgyEXs0Wj3fzLxsCf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GnefrVYkOrpzIXa.ARM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WnJ8UOoE2Bxrq2jXsL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3uu.qtT0evEzh7aWPI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ev1VQ50e7pdPMgJpu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yobx3DuUaAdL5pKwm8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qWG0ekU60OuOXAze8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znJwxx1EmX3LCRTiGf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234ZtU70ChjGDsotiU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XNYBfdZ0CBU7uPRuwo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w.imsEKUWYAoFV3Lzg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chuA55zkqRq4_m_R15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3ybgL9b0ap5ujMyCyA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yo.JwdU6c3dpEuV1B6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Oblb45C02N_3ZS.Oln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5PgyEXs0Wj3fzLxsCf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GnefrVYkOrpzIXa.AR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WnJ8UOoE2Bxrq2jXsL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3uu.qtT0evEzh7aWPI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ev1VQ50e7pdPMgJpu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yobx3DuUaAdL5pKwm8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qWG0ekU60OuOXAze8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znJwxx1EmX3LCRTiGf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234ZtU70ChjGDsotiU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XNYBfdZ0CBU7uPRuwo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w.imsEKUWYAoFV3Lzg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chuA55zkqRq4_m_R15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3ybgL9b0ap5ujMyCyA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yo.JwdU6c3dpEuV1B6A"/>
</p:tagLst>
</file>

<file path=ppt/theme/theme1.xml><?xml version="1.0" encoding="utf-8"?>
<a:theme xmlns:a="http://schemas.openxmlformats.org/drawingml/2006/main" name="Quintiles_PPT_Template_11Mar15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6D2077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200"/>
          </a:spcBef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4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ＭＳ Ｐゴシック" charset="-128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4" id="{C82D5F8D-5990-43AD-9773-5F11A17B5E5E}" vid="{4DE21E25-3D66-4AA0-ABD8-6B45E5AC90EC}"/>
    </a:ext>
  </a:extLst>
</a:theme>
</file>

<file path=ppt/theme/theme2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92D050"/>
      </a:accent4>
      <a:accent5>
        <a:srgbClr val="43B649"/>
      </a:accent5>
      <a:accent6>
        <a:srgbClr val="6D2077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92D050"/>
      </a:accent4>
      <a:accent5>
        <a:srgbClr val="43B649"/>
      </a:accent5>
      <a:accent6>
        <a:srgbClr val="6D2077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440ACABCAC364CA9C53918BAC7315F" ma:contentTypeVersion="2" ma:contentTypeDescription="Create a new document." ma:contentTypeScope="" ma:versionID="f887ad76b0f1b30cae385fbf7253bfc7">
  <xsd:schema xmlns:xsd="http://www.w3.org/2001/XMLSchema" xmlns:xs="http://www.w3.org/2001/XMLSchema" xmlns:p="http://schemas.microsoft.com/office/2006/metadata/properties" xmlns:ns2="7865648d-fa49-408f-a75f-39925f29e934" targetNamespace="http://schemas.microsoft.com/office/2006/metadata/properties" ma:root="true" ma:fieldsID="881539773ccdee32792afce379179b73" ns2:_="">
    <xsd:import namespace="7865648d-fa49-408f-a75f-39925f29e93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65648d-fa49-408f-a75f-39925f29e93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8273E7C-77D6-439D-9953-67AAF9AE33C0}">
  <ds:schemaRefs>
    <ds:schemaRef ds:uri="http://www.w3.org/XML/1998/namespace"/>
    <ds:schemaRef ds:uri="http://purl.org/dc/terms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865648d-fa49-408f-a75f-39925f29e934"/>
    <ds:schemaRef ds:uri="http://schemas.microsoft.com/office/2006/documentManagement/types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5AC1CA3-FEBD-439B-BD34-4616570AB99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DF899A6-EB46-4CF7-AFF5-00B43B134B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865648d-fa49-408f-a75f-39925f29e9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1</Words>
  <Application>Microsoft Office PowerPoint</Application>
  <PresentationFormat>Bildschirmpräsentation (4:3)</PresentationFormat>
  <Paragraphs>56</Paragraphs>
  <Slides>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ＭＳ Ｐゴシック</vt:lpstr>
      <vt:lpstr>Arial</vt:lpstr>
      <vt:lpstr>Georgia</vt:lpstr>
      <vt:lpstr>Lucida Grande</vt:lpstr>
      <vt:lpstr>Quintiles_PPT_Template_11Mar15</vt:lpstr>
      <vt:lpstr>think-cell Folie</vt:lpstr>
      <vt:lpstr>Chart</vt:lpstr>
      <vt:lpstr>Abbildung 1: Zweistellige Umsatzsteigerung des Apotheken-Versandhandels mit rezeptfreien Produkten in 2016 </vt:lpstr>
      <vt:lpstr>Abbildung 2: Zweistellige Absatzsteigerung des Apotheken-Versandhandels mit rezeptfreien Produkten in 2016 </vt:lpstr>
    </vt:vector>
  </TitlesOfParts>
  <Company>Quintil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bildung 1: Zweistellige Umsatzsteigerung des Apotheken-Versandhandels mit rezeptfreien Produkten in 2016</dc:title>
  <dc:creator>Dirk Pabst</dc:creator>
  <cp:lastModifiedBy>Nadine Dippel</cp:lastModifiedBy>
  <cp:revision>2</cp:revision>
  <dcterms:created xsi:type="dcterms:W3CDTF">2017-05-10T10:04:15Z</dcterms:created>
  <dcterms:modified xsi:type="dcterms:W3CDTF">2017-08-17T09:4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440ACABCAC364CA9C53918BAC7315F</vt:lpwstr>
  </property>
</Properties>
</file>